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2" r:id="rId5"/>
  </p:sldMasterIdLst>
  <p:notesMasterIdLst>
    <p:notesMasterId r:id="rId12"/>
  </p:notesMasterIdLst>
  <p:sldIdLst>
    <p:sldId id="256" r:id="rId6"/>
    <p:sldId id="274" r:id="rId7"/>
    <p:sldId id="279" r:id="rId8"/>
    <p:sldId id="281" r:id="rId9"/>
    <p:sldId id="280" r:id="rId10"/>
    <p:sldId id="271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92" userDrawn="1">
          <p15:clr>
            <a:srgbClr val="A4A3A4"/>
          </p15:clr>
        </p15:guide>
        <p15:guide id="4" pos="7512" userDrawn="1">
          <p15:clr>
            <a:srgbClr val="A4A3A4"/>
          </p15:clr>
        </p15:guide>
        <p15:guide id="5" orient="horz" pos="624" userDrawn="1">
          <p15:clr>
            <a:srgbClr val="A4A3A4"/>
          </p15:clr>
        </p15:guide>
        <p15:guide id="6" orient="horz" pos="23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59C2A3-9A4A-4D58-8F20-5ED2EB184563}" v="159" dt="2021-04-14T02:14:41.3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144" y="204"/>
      </p:cViewPr>
      <p:guideLst>
        <p:guide orient="horz" pos="3984"/>
        <p:guide pos="3840"/>
        <p:guide pos="192"/>
        <p:guide pos="7512"/>
        <p:guide orient="horz" pos="624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6DA6CA-D01C-445A-831E-524A66D7AC60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9BAA16-E401-4F10-BF43-9ACE11E72D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2955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71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ACF2DA-C9CA-4C55-ACB6-71469F559D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2D36478-5A48-43E8-8513-F912E216C1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7DA37E-71E4-4762-B8E1-9FB85A9BB5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271042-9746-4D8B-B2CC-3449C581B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EFC622-451D-4687-A32C-69DA1A3C8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8165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6C2AA-61AF-4159-B042-82C0FE721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5ABB68D-3370-4CE7-A950-E03E2359CC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66345-CB34-4D90-9404-15C5749AB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F1154C-BE5A-4600-9CA0-37E29E7CE3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94D82C-8812-48EA-8A2E-69FFF7BE8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6631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9931EA5-67E4-4142-BBC3-D590FF14F0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85441A-61E6-48F1-8D3A-B9F3DA9873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CC0DF2-3B53-4DCA-9EF2-45B20EC191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19BFFB-0B08-4BDA-A456-E9E66201E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622C74-A7E3-412A-9879-81F2D78988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5374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352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380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67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9838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2087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9318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3545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3423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FDE422-7B65-4B07-8467-941C1B5CF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D487D-43DA-4017-BE6F-AC904E811F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DB866A-B32D-4CA3-BC9C-5A9411195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493836-DF2D-494E-9787-9C9ADBC62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A8DFE-57A9-44E4-9D8C-DBECC1505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8029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0041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8287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957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72058-910B-45F2-BDC8-E59D6B028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525F5E-0094-41B8-9A0E-14F69A374F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639685-8DC5-4D10-BF75-B9B2F930E6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2C1439-70FB-40DA-9ABE-DF8F7585F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091808-974C-4760-8868-3FDE1C77B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3653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FE1A8-98AC-4941-9DAC-B3ADF37C1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FEEC73-F551-42C2-9466-AD6D80A44A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63CF98-85A6-4D9D-89E3-FE1021FFAB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3FA5B6-4C81-4879-85FE-C1B89523C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671A07-5149-4829-922B-702AED9DA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9040F6-A7A5-4561-BBB5-5BD055DD3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941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13AB1A-E05A-4D9E-9BAA-3DE1CF7ED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0D5DF1-0D69-41E5-970E-7E2EDF5F86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A52284-D73E-47F3-9F58-B3033EC2C3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48FBA-A16B-4767-80D4-1C45CFB24E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30FBB4-FBE4-40BB-B7B5-24B7CF2E91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C9F4CA4-1698-46E7-85DA-A48494F2E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39344A9-5216-4905-B263-14020C384C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FBAE42F-164A-4E2D-ADF2-F2C06D178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669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DE03A8-F60A-4C23-9B49-2C706B85E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B03202-E60A-4AFF-8D9B-8DB0274618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DBBAE7-B31D-44FA-9559-4C0A1037F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B90D49-8CA3-4F9E-B7B9-4CA172DDC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2551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C96D76-4527-4BC7-B2D3-EC175B9D5D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6C8BE1-1538-40B9-9CC4-C5D23F0A7B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04DEB8-C2FF-4128-9BEE-5D232B312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638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A6240-EE2A-45DF-8B1C-3CE0CE52F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782615-8905-4D28-ABBF-3E583E1928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470A89-586F-498A-8706-1DFD032216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500CBE-74FE-4CC3-85BB-0213BDDAEF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4EF65B-452B-4751-AA93-6E77621D4F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B0E957-C943-4A68-8999-8247171E2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3401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B6160-D30F-4AF9-A362-808C84F6C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B18EC81-AC9B-4D75-8E44-ABE8A9C0ED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3FDE88-D2BE-4770-B911-D6CF09672C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E38891-F21D-4963-BC17-A747397E8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2CF01D-C340-4ADD-B2D6-5D68C278E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EE44DB-0542-4218-900A-A3C52D7D4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0665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41AAB1-7E2C-4821-984F-B3CA3B911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3016D-F1CF-4776-9EF1-E29CEA09CE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F2DD8-0C73-4E95-AC36-D9A80BD70F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B399E3-31DF-49D3-B858-F8F109171C56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B6B00C-E50D-438A-83E0-1076C7BFCB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CB4E80-9AAC-4162-B8FB-CA227EC1F6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961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51203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682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13" Type="http://schemas.openxmlformats.org/officeDocument/2006/relationships/image" Target="../media/image9.jfif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sv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openxmlformats.org/officeDocument/2006/relationships/image" Target="../media/image7.emf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video" Target="../media/media1.mp4"/><Relationship Id="rId7" Type="http://schemas.openxmlformats.org/officeDocument/2006/relationships/image" Target="../media/image5.png"/><Relationship Id="rId2" Type="http://schemas.microsoft.com/office/2007/relationships/media" Target="../media/media1.mp4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pattFill prst="lgGri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AD9C6A93-F3FF-49A2-9094-512409A956EE}"/>
              </a:ext>
            </a:extLst>
          </p:cNvPr>
          <p:cNvSpPr txBox="1"/>
          <p:nvPr/>
        </p:nvSpPr>
        <p:spPr>
          <a:xfrm>
            <a:off x="2594222" y="2892317"/>
            <a:ext cx="7191090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ja-JP" altLang="en-US" sz="80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ポートフォリオ</a:t>
            </a:r>
            <a:endParaRPr lang="en-US" sz="80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0D99B94-BC19-46D7-BAAC-79282D50B758}"/>
              </a:ext>
            </a:extLst>
          </p:cNvPr>
          <p:cNvCxnSpPr/>
          <p:nvPr/>
        </p:nvCxnSpPr>
        <p:spPr>
          <a:xfrm>
            <a:off x="9791700" y="-393700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B67DE17-0B48-428B-9E9F-459594CBBF75}"/>
              </a:ext>
            </a:extLst>
          </p:cNvPr>
          <p:cNvCxnSpPr/>
          <p:nvPr/>
        </p:nvCxnSpPr>
        <p:spPr>
          <a:xfrm>
            <a:off x="8102600" y="-748189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22714C1-5FD3-46AC-80CB-0D26D682DA1C}"/>
              </a:ext>
            </a:extLst>
          </p:cNvPr>
          <p:cNvCxnSpPr/>
          <p:nvPr/>
        </p:nvCxnSpPr>
        <p:spPr>
          <a:xfrm>
            <a:off x="1244600" y="5199181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96FE5-4469-4F1F-83DB-A256B711536B}"/>
              </a:ext>
            </a:extLst>
          </p:cNvPr>
          <p:cNvCxnSpPr/>
          <p:nvPr/>
        </p:nvCxnSpPr>
        <p:spPr>
          <a:xfrm>
            <a:off x="-444500" y="4844692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ame 19">
            <a:extLst>
              <a:ext uri="{FF2B5EF4-FFF2-40B4-BE49-F238E27FC236}">
                <a16:creationId xmlns:a16="http://schemas.microsoft.com/office/drawing/2014/main" id="{CA97A0FA-C469-4435-BDA8-C9074A8235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34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EB75C9-ACEB-4B2C-9A41-9A24FC2611B5}"/>
              </a:ext>
            </a:extLst>
          </p:cNvPr>
          <p:cNvSpPr txBox="1"/>
          <p:nvPr/>
        </p:nvSpPr>
        <p:spPr>
          <a:xfrm>
            <a:off x="2234461" y="4245949"/>
            <a:ext cx="8405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ja-JP" altLang="en-US" dirty="0"/>
              <a:t>ーリヨンスー</a:t>
            </a:r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19FB63A-FBB5-4A75-BF5C-778FB1FF8836}"/>
              </a:ext>
            </a:extLst>
          </p:cNvPr>
          <p:cNvSpPr txBox="1"/>
          <p:nvPr/>
        </p:nvSpPr>
        <p:spPr>
          <a:xfrm>
            <a:off x="2775098" y="4844692"/>
            <a:ext cx="7772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ja-JP" altLang="en-US" dirty="0"/>
              <a:t>使用可能技術：</a:t>
            </a:r>
            <a:r>
              <a:rPr lang="en-US" altLang="ja-JP" dirty="0"/>
              <a:t>Java</a:t>
            </a:r>
            <a:r>
              <a:rPr lang="ja-JP" altLang="en-US" dirty="0"/>
              <a:t>、</a:t>
            </a:r>
            <a:r>
              <a:rPr lang="en-US" altLang="ja-JP" dirty="0"/>
              <a:t>SQL</a:t>
            </a:r>
          </a:p>
          <a:p>
            <a:pPr algn="r"/>
            <a:r>
              <a:rPr lang="en-US" altLang="ko-KR" dirty="0">
                <a:solidFill>
                  <a:srgbClr val="FF0000"/>
                </a:solidFill>
              </a:rPr>
              <a:t> </a:t>
            </a:r>
            <a:br>
              <a:rPr lang="en-US" altLang="ko-KR" dirty="0">
                <a:solidFill>
                  <a:srgbClr val="FF0000"/>
                </a:solidFill>
                <a:highlight>
                  <a:srgbClr val="FFFF00"/>
                </a:highlight>
              </a:rPr>
            </a:br>
            <a:r>
              <a:rPr lang="ja-JP" altLang="en-US" dirty="0"/>
              <a:t>モットー：諦めずに進んでいこう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830741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1900929"/>
            <a:ext cx="6438900" cy="49570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CCCC2C-F9D7-422A-9F13-8625568B39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3134" y="2440447"/>
            <a:ext cx="4349682" cy="489127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37700" y="1"/>
            <a:ext cx="2654300" cy="1726584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579040"/>
            <a:ext cx="1136280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こんにちは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内容　       ：　商品予約及びイベント掲示板サイト</a:t>
            </a:r>
            <a:endParaRPr kumimoji="0" lang="en-US" altLang="ja-JP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制作期間　：　</a:t>
            </a:r>
            <a:r>
              <a:rPr lang="en-US" altLang="ja-JP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kumimoji="0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ヶ月</a:t>
            </a:r>
            <a:endParaRPr kumimoji="0" lang="en-US" altLang="ja-JP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ja-JP" altLang="en-US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人数　       ：　一人</a:t>
            </a:r>
            <a:endParaRPr kumimoji="0" lang="en-US" altLang="ko-KR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" name="Rectángulo 3">
            <a:extLst>
              <a:ext uri="{FF2B5EF4-FFF2-40B4-BE49-F238E27FC236}">
                <a16:creationId xmlns:a16="http://schemas.microsoft.com/office/drawing/2014/main" id="{9A843861-CFBB-4FA6-B40A-1FA349CFC17D}"/>
              </a:ext>
            </a:extLst>
          </p:cNvPr>
          <p:cNvSpPr/>
          <p:nvPr/>
        </p:nvSpPr>
        <p:spPr>
          <a:xfrm>
            <a:off x="3446204" y="2622184"/>
            <a:ext cx="83312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ツール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8731656" y="4279893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A6BA5E63-69F5-4BE2-91ED-886D8CEC38A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60491" y="5372100"/>
            <a:ext cx="3351177" cy="1485900"/>
          </a:xfrm>
          <a:prstGeom prst="rect">
            <a:avLst/>
          </a:prstGeom>
        </p:spPr>
      </p:pic>
      <p:grpSp>
        <p:nvGrpSpPr>
          <p:cNvPr id="22" name="그룹 21">
            <a:extLst>
              <a:ext uri="{FF2B5EF4-FFF2-40B4-BE49-F238E27FC236}">
                <a16:creationId xmlns:a16="http://schemas.microsoft.com/office/drawing/2014/main" id="{D9FAD79D-8950-4B9E-B655-2D89D2FDF278}"/>
              </a:ext>
            </a:extLst>
          </p:cNvPr>
          <p:cNvGrpSpPr/>
          <p:nvPr/>
        </p:nvGrpSpPr>
        <p:grpSpPr>
          <a:xfrm>
            <a:off x="5028132" y="3104089"/>
            <a:ext cx="6949324" cy="2422003"/>
            <a:chOff x="4450957" y="3248001"/>
            <a:chExt cx="4700070" cy="1638085"/>
          </a:xfrm>
        </p:grpSpPr>
        <p:sp>
          <p:nvSpPr>
            <p:cNvPr id="43" name="Rectángulo 3">
              <a:extLst>
                <a:ext uri="{FF2B5EF4-FFF2-40B4-BE49-F238E27FC236}">
                  <a16:creationId xmlns:a16="http://schemas.microsoft.com/office/drawing/2014/main" id="{7E5FF4C7-7D02-4B66-886F-64062BCE06F7}"/>
                </a:ext>
              </a:extLst>
            </p:cNvPr>
            <p:cNvSpPr/>
            <p:nvPr/>
          </p:nvSpPr>
          <p:spPr>
            <a:xfrm>
              <a:off x="5144953" y="3426661"/>
              <a:ext cx="2142465" cy="22897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Oracle Database 11g</a:t>
              </a:r>
            </a:p>
          </p:txBody>
        </p:sp>
        <p:sp>
          <p:nvSpPr>
            <p:cNvPr id="44" name="Rectángulo 3">
              <a:extLst>
                <a:ext uri="{FF2B5EF4-FFF2-40B4-BE49-F238E27FC236}">
                  <a16:creationId xmlns:a16="http://schemas.microsoft.com/office/drawing/2014/main" id="{A44D750B-C9EB-4F4D-A355-A79D22D68673}"/>
                </a:ext>
              </a:extLst>
            </p:cNvPr>
            <p:cNvSpPr/>
            <p:nvPr/>
          </p:nvSpPr>
          <p:spPr>
            <a:xfrm>
              <a:off x="5144953" y="4428171"/>
              <a:ext cx="2142465" cy="33855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pache Tomcat 9.0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7" name="Rectángulo 3">
              <a:extLst>
                <a:ext uri="{FF2B5EF4-FFF2-40B4-BE49-F238E27FC236}">
                  <a16:creationId xmlns:a16="http://schemas.microsoft.com/office/drawing/2014/main" id="{3994F9D6-0E4F-4128-8913-B56A00FD1757}"/>
                </a:ext>
              </a:extLst>
            </p:cNvPr>
            <p:cNvSpPr/>
            <p:nvPr/>
          </p:nvSpPr>
          <p:spPr>
            <a:xfrm>
              <a:off x="7574649" y="3425475"/>
              <a:ext cx="1576378" cy="23134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Oracle SQL Developer</a:t>
              </a:r>
            </a:p>
          </p:txBody>
        </p:sp>
        <p:sp>
          <p:nvSpPr>
            <p:cNvPr id="48" name="Rectángulo 3">
              <a:extLst>
                <a:ext uri="{FF2B5EF4-FFF2-40B4-BE49-F238E27FC236}">
                  <a16:creationId xmlns:a16="http://schemas.microsoft.com/office/drawing/2014/main" id="{FA1C4A1E-F46D-4688-BD06-FEFF576FDC12}"/>
                </a:ext>
              </a:extLst>
            </p:cNvPr>
            <p:cNvSpPr/>
            <p:nvPr/>
          </p:nvSpPr>
          <p:spPr>
            <a:xfrm>
              <a:off x="7574649" y="4481775"/>
              <a:ext cx="1514741" cy="23134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pring Tool Suite4</a:t>
              </a:r>
            </a:p>
          </p:txBody>
        </p:sp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E44EF1A8-9752-4D61-99A3-84EC6491F18C}"/>
                </a:ext>
              </a:extLst>
            </p:cNvPr>
            <p:cNvGrpSpPr/>
            <p:nvPr/>
          </p:nvGrpSpPr>
          <p:grpSpPr>
            <a:xfrm>
              <a:off x="6880653" y="3248001"/>
              <a:ext cx="584775" cy="584775"/>
              <a:chOff x="6880653" y="3248001"/>
              <a:chExt cx="584775" cy="584775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517FAB6B-BC75-48F2-A08A-B7E7BD8A52D3}"/>
                  </a:ext>
                </a:extLst>
              </p:cNvPr>
              <p:cNvSpPr/>
              <p:nvPr/>
            </p:nvSpPr>
            <p:spPr>
              <a:xfrm>
                <a:off x="6880653" y="3248001"/>
                <a:ext cx="584775" cy="5847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D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4" name="그림 3">
                <a:extLst>
                  <a:ext uri="{FF2B5EF4-FFF2-40B4-BE49-F238E27FC236}">
                    <a16:creationId xmlns:a16="http://schemas.microsoft.com/office/drawing/2014/main" id="{08D75D22-6875-4908-B678-7A5DEB674D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69338" y="3338484"/>
                <a:ext cx="402510" cy="402510"/>
              </a:xfrm>
              <a:prstGeom prst="rect">
                <a:avLst/>
              </a:prstGeom>
            </p:spPr>
          </p:pic>
        </p:grpSp>
        <p:grpSp>
          <p:nvGrpSpPr>
            <p:cNvPr id="21" name="그룹 20">
              <a:extLst>
                <a:ext uri="{FF2B5EF4-FFF2-40B4-BE49-F238E27FC236}">
                  <a16:creationId xmlns:a16="http://schemas.microsoft.com/office/drawing/2014/main" id="{B8FF579E-7502-4C70-BD5B-1DA0C675EB2F}"/>
                </a:ext>
              </a:extLst>
            </p:cNvPr>
            <p:cNvGrpSpPr/>
            <p:nvPr/>
          </p:nvGrpSpPr>
          <p:grpSpPr>
            <a:xfrm>
              <a:off x="6880653" y="4301311"/>
              <a:ext cx="584775" cy="584775"/>
              <a:chOff x="6880653" y="4301311"/>
              <a:chExt cx="584775" cy="584775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801FE9B7-86C0-48A7-91BD-530CFCFE1404}"/>
                  </a:ext>
                </a:extLst>
              </p:cNvPr>
              <p:cNvSpPr/>
              <p:nvPr/>
            </p:nvSpPr>
            <p:spPr>
              <a:xfrm>
                <a:off x="6880653" y="4301311"/>
                <a:ext cx="584775" cy="5847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D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0" name="그림 9" descr="텍스트, 클립아트이(가) 표시된 사진&#10;&#10;자동 생성된 설명">
                <a:extLst>
                  <a:ext uri="{FF2B5EF4-FFF2-40B4-BE49-F238E27FC236}">
                    <a16:creationId xmlns:a16="http://schemas.microsoft.com/office/drawing/2014/main" id="{297BF3B8-3B9E-481B-8896-BB692F069E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400000" flipV="1">
                <a:off x="6975907" y="4405585"/>
                <a:ext cx="390835" cy="390835"/>
              </a:xfrm>
              <a:prstGeom prst="rect">
                <a:avLst/>
              </a:prstGeom>
            </p:spPr>
          </p:pic>
        </p:grp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21546827-7967-4B90-9CEA-65B7FCC2DD68}"/>
                </a:ext>
              </a:extLst>
            </p:cNvPr>
            <p:cNvGrpSpPr/>
            <p:nvPr/>
          </p:nvGrpSpPr>
          <p:grpSpPr>
            <a:xfrm>
              <a:off x="4450957" y="4301311"/>
              <a:ext cx="584775" cy="584775"/>
              <a:chOff x="4450957" y="4301311"/>
              <a:chExt cx="584775" cy="584775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5762FFBB-4C63-4636-A6B6-983C8CAB042E}"/>
                  </a:ext>
                </a:extLst>
              </p:cNvPr>
              <p:cNvSpPr/>
              <p:nvPr/>
            </p:nvSpPr>
            <p:spPr>
              <a:xfrm>
                <a:off x="4450957" y="4301311"/>
                <a:ext cx="584775" cy="5847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D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5" name="그림 14">
                <a:extLst>
                  <a:ext uri="{FF2B5EF4-FFF2-40B4-BE49-F238E27FC236}">
                    <a16:creationId xmlns:a16="http://schemas.microsoft.com/office/drawing/2014/main" id="{6593CB26-EFCC-49ED-982C-6019AE6494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41954" y="4400512"/>
                <a:ext cx="376806" cy="374994"/>
              </a:xfrm>
              <a:prstGeom prst="rect">
                <a:avLst/>
              </a:prstGeom>
            </p:spPr>
          </p:pic>
        </p:grp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D6E56910-E8A0-421B-8551-A6DE581648CE}"/>
                </a:ext>
              </a:extLst>
            </p:cNvPr>
            <p:cNvGrpSpPr/>
            <p:nvPr/>
          </p:nvGrpSpPr>
          <p:grpSpPr>
            <a:xfrm>
              <a:off x="4450957" y="3248001"/>
              <a:ext cx="584775" cy="584775"/>
              <a:chOff x="4450957" y="3248001"/>
              <a:chExt cx="584775" cy="584775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C8E64120-3653-4CF0-AD4D-D234D110AFF4}"/>
                  </a:ext>
                </a:extLst>
              </p:cNvPr>
              <p:cNvSpPr/>
              <p:nvPr/>
            </p:nvSpPr>
            <p:spPr>
              <a:xfrm>
                <a:off x="4450957" y="3248001"/>
                <a:ext cx="584775" cy="5847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D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6" name="그림 15">
                <a:extLst>
                  <a:ext uri="{FF2B5EF4-FFF2-40B4-BE49-F238E27FC236}">
                    <a16:creationId xmlns:a16="http://schemas.microsoft.com/office/drawing/2014/main" id="{246BD90A-7B97-425B-8B47-4C7E12B71D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39620" y="3278639"/>
                <a:ext cx="402511" cy="54894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003299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275737" y="508236"/>
            <a:ext cx="11362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3200" b="1" dirty="0">
                <a:solidFill>
                  <a:prstClr val="white"/>
                </a:solidFill>
                <a:latin typeface="Segoe UI" panose="020B0502040204020203" pitchFamily="34" charset="0"/>
                <a:ea typeface="맑은 고딕" panose="020B0503020000020004" pitchFamily="50" charset="-127"/>
                <a:cs typeface="Segoe UI" panose="020B0502040204020203" pitchFamily="34" charset="0"/>
              </a:rPr>
              <a:t>プロジェクトの構造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A33F5F16-DED7-45C7-916A-7BD56D2676F5}"/>
              </a:ext>
            </a:extLst>
          </p:cNvPr>
          <p:cNvGrpSpPr/>
          <p:nvPr/>
        </p:nvGrpSpPr>
        <p:grpSpPr>
          <a:xfrm>
            <a:off x="0" y="1500604"/>
            <a:ext cx="12192000" cy="5387404"/>
            <a:chOff x="0" y="1762568"/>
            <a:chExt cx="12192000" cy="5387404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7CAED172-78DA-4C12-9D9F-A45E984356E8}"/>
                </a:ext>
              </a:extLst>
            </p:cNvPr>
            <p:cNvSpPr/>
            <p:nvPr/>
          </p:nvSpPr>
          <p:spPr>
            <a:xfrm>
              <a:off x="0" y="1762568"/>
              <a:ext cx="12192000" cy="51022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AE0E34EB-E04F-4C71-9F2D-B33CF13E81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9506"/>
            <a:stretch/>
          </p:blipFill>
          <p:spPr>
            <a:xfrm>
              <a:off x="430726" y="2561353"/>
              <a:ext cx="11330548" cy="4588619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55176CEA-6579-4BF4-BC55-62B91C57DB38}"/>
              </a:ext>
            </a:extLst>
          </p:cNvPr>
          <p:cNvSpPr txBox="1"/>
          <p:nvPr/>
        </p:nvSpPr>
        <p:spPr>
          <a:xfrm>
            <a:off x="148703" y="1618636"/>
            <a:ext cx="10356263" cy="968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ja-JP" altLang="en-US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スプリング</a:t>
            </a:r>
            <a:r>
              <a:rPr lang="en-US" altLang="ja-JP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MVC</a:t>
            </a:r>
            <a:r>
              <a:rPr lang="ja-JP" altLang="en-US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パターンを使用して製作</a:t>
            </a:r>
          </a:p>
          <a:p>
            <a:pPr>
              <a:lnSpc>
                <a:spcPct val="150000"/>
              </a:lnSpc>
            </a:pPr>
            <a:r>
              <a:rPr lang="ja-JP" altLang="en-US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会員、掲示板、商品、予約の各パート別にクラスを分離</a:t>
            </a:r>
            <a:endParaRPr lang="en-US" altLang="ko-KR" sz="20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36742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275737" y="508236"/>
            <a:ext cx="11362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データベース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CAED172-78DA-4C12-9D9F-A45E984356E8}"/>
              </a:ext>
            </a:extLst>
          </p:cNvPr>
          <p:cNvSpPr/>
          <p:nvPr/>
        </p:nvSpPr>
        <p:spPr>
          <a:xfrm>
            <a:off x="0" y="1499749"/>
            <a:ext cx="12192000" cy="51022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62BFBA3A-DDDF-466B-8FC2-3D0BAFEDD811}"/>
              </a:ext>
            </a:extLst>
          </p:cNvPr>
          <p:cNvGrpSpPr/>
          <p:nvPr/>
        </p:nvGrpSpPr>
        <p:grpSpPr>
          <a:xfrm>
            <a:off x="445860" y="1793974"/>
            <a:ext cx="7124523" cy="4808005"/>
            <a:chOff x="275737" y="1793974"/>
            <a:chExt cx="7124523" cy="4808005"/>
          </a:xfrm>
        </p:grpSpPr>
        <p:pic>
          <p:nvPicPr>
            <p:cNvPr id="12" name="그림 11" descr="텍스트이(가) 표시된 사진&#10;&#10;자동 생성된 설명">
              <a:extLst>
                <a:ext uri="{FF2B5EF4-FFF2-40B4-BE49-F238E27FC236}">
                  <a16:creationId xmlns:a16="http://schemas.microsoft.com/office/drawing/2014/main" id="{5769188E-B21F-4B1B-BF2B-220649480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5737" y="1793974"/>
              <a:ext cx="6953959" cy="4714728"/>
            </a:xfrm>
            <a:prstGeom prst="rect">
              <a:avLst/>
            </a:prstGeom>
          </p:spPr>
        </p:pic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4B562032-A75B-41C6-853F-8B668E49116D}"/>
                </a:ext>
              </a:extLst>
            </p:cNvPr>
            <p:cNvSpPr/>
            <p:nvPr/>
          </p:nvSpPr>
          <p:spPr>
            <a:xfrm>
              <a:off x="275737" y="1793974"/>
              <a:ext cx="7124523" cy="4808005"/>
            </a:xfrm>
            <a:prstGeom prst="rect">
              <a:avLst/>
            </a:prstGeom>
            <a:noFill/>
            <a:ln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8F27377A-BEEC-4E39-A67C-6515393ADBCA}"/>
              </a:ext>
            </a:extLst>
          </p:cNvPr>
          <p:cNvCxnSpPr>
            <a:cxnSpLocks/>
          </p:cNvCxnSpPr>
          <p:nvPr/>
        </p:nvCxnSpPr>
        <p:spPr>
          <a:xfrm>
            <a:off x="7570383" y="2794880"/>
            <a:ext cx="8931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A1E3BEF3-A9D1-48CF-8B6E-D10FF8FD0595}"/>
              </a:ext>
            </a:extLst>
          </p:cNvPr>
          <p:cNvCxnSpPr>
            <a:cxnSpLocks/>
          </p:cNvCxnSpPr>
          <p:nvPr/>
        </p:nvCxnSpPr>
        <p:spPr>
          <a:xfrm flipH="1">
            <a:off x="7570383" y="3038863"/>
            <a:ext cx="8895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56438088-6C1B-45E2-A283-0A5F3EFD8AEC}"/>
              </a:ext>
            </a:extLst>
          </p:cNvPr>
          <p:cNvGrpSpPr/>
          <p:nvPr/>
        </p:nvGrpSpPr>
        <p:grpSpPr>
          <a:xfrm>
            <a:off x="8459972" y="2638367"/>
            <a:ext cx="2983168" cy="3202549"/>
            <a:chOff x="8452884" y="1806993"/>
            <a:chExt cx="2983168" cy="320254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D86E0B5-9764-4584-B554-9A1632CC69FA}"/>
                </a:ext>
              </a:extLst>
            </p:cNvPr>
            <p:cNvSpPr txBox="1"/>
            <p:nvPr/>
          </p:nvSpPr>
          <p:spPr>
            <a:xfrm>
              <a:off x="8452884" y="1806993"/>
              <a:ext cx="2796363" cy="54000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t">
              <a:spAutoFit/>
            </a:bodyPr>
            <a:lstStyle/>
            <a:p>
              <a:pPr algn="ctr"/>
              <a:r>
                <a:rPr lang="en-US" altLang="ko-KR" dirty="0" err="1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MyBatis</a:t>
              </a:r>
              <a:endParaRPr lang="ko-KR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02D0E9A-5B04-4673-B5CB-AE944B3D2051}"/>
                </a:ext>
              </a:extLst>
            </p:cNvPr>
            <p:cNvSpPr txBox="1"/>
            <p:nvPr/>
          </p:nvSpPr>
          <p:spPr>
            <a:xfrm>
              <a:off x="8639689" y="2197100"/>
              <a:ext cx="2796363" cy="900000"/>
            </a:xfrm>
            <a:prstGeom prst="rect">
              <a:avLst/>
            </a:prstGeom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sz="28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mapper.xml</a:t>
              </a:r>
              <a:endParaRPr lang="ko-KR" altLang="en-US" sz="2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548CC34-5183-4239-9115-09070F2F19B2}"/>
                </a:ext>
              </a:extLst>
            </p:cNvPr>
            <p:cNvSpPr txBox="1"/>
            <p:nvPr/>
          </p:nvSpPr>
          <p:spPr>
            <a:xfrm>
              <a:off x="8639689" y="4109542"/>
              <a:ext cx="2796363" cy="900000"/>
            </a:xfrm>
            <a:prstGeom prst="rect">
              <a:avLst/>
            </a:prstGeom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sz="28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DAO.java</a:t>
              </a:r>
              <a:endParaRPr lang="ko-KR" altLang="en-US" sz="2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cxnSp>
          <p:nvCxnSpPr>
            <p:cNvPr id="37" name="직선 화살표 연결선 36">
              <a:extLst>
                <a:ext uri="{FF2B5EF4-FFF2-40B4-BE49-F238E27FC236}">
                  <a16:creationId xmlns:a16="http://schemas.microsoft.com/office/drawing/2014/main" id="{00F03C8C-9D1F-4F9F-ACBE-3D1B9A3A1031}"/>
                </a:ext>
              </a:extLst>
            </p:cNvPr>
            <p:cNvCxnSpPr>
              <a:cxnSpLocks/>
            </p:cNvCxnSpPr>
            <p:nvPr/>
          </p:nvCxnSpPr>
          <p:spPr>
            <a:xfrm>
              <a:off x="10241293" y="3087821"/>
              <a:ext cx="0" cy="101244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직선 화살표 연결선 37">
              <a:extLst>
                <a:ext uri="{FF2B5EF4-FFF2-40B4-BE49-F238E27FC236}">
                  <a16:creationId xmlns:a16="http://schemas.microsoft.com/office/drawing/2014/main" id="{CFD3C368-6F8A-4493-88E6-2214F91986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51065" y="3097100"/>
              <a:ext cx="0" cy="101244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49523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648202"/>
            <a:ext cx="11362808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3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作動映像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実際、サイトの作動映像です。クリックするとプレー出来ます。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BF7771B-460D-43AF-8B6D-AB4FC823A8F1}"/>
              </a:ext>
            </a:extLst>
          </p:cNvPr>
          <p:cNvGrpSpPr/>
          <p:nvPr/>
        </p:nvGrpSpPr>
        <p:grpSpPr>
          <a:xfrm>
            <a:off x="2842396" y="1844431"/>
            <a:ext cx="5984731" cy="5020367"/>
            <a:chOff x="904956" y="2489200"/>
            <a:chExt cx="4693260" cy="3937000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F205E5E-83C5-44D6-8EC6-140BE8B6B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4956" y="2489200"/>
              <a:ext cx="4693260" cy="3937000"/>
            </a:xfrm>
            <a:prstGeom prst="rect">
              <a:avLst/>
            </a:prstGeom>
          </p:spPr>
        </p:pic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D9C4CE78-ABC9-4F06-87FB-F12378099317}"/>
                </a:ext>
              </a:extLst>
            </p:cNvPr>
            <p:cNvSpPr/>
            <p:nvPr/>
          </p:nvSpPr>
          <p:spPr>
            <a:xfrm>
              <a:off x="2032386" y="5441315"/>
              <a:ext cx="2438400" cy="5842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ja-JP" altLang="en-US" b="1" dirty="0">
                  <a:solidFill>
                    <a:prstClr val="white"/>
                  </a:solidFill>
                  <a:latin typeface="Segoe UI" panose="020B0502040204020203" pitchFamily="34" charset="0"/>
                  <a:ea typeface="맑은 고딕" panose="020B0503020000020004" pitchFamily="50" charset="-127"/>
                  <a:cs typeface="Segoe UI" panose="020B0502040204020203" pitchFamily="34" charset="0"/>
                </a:rPr>
                <a:t>サイト</a:t>
              </a:r>
              <a:endPara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pic>
        <p:nvPicPr>
          <p:cNvPr id="2" name="프로젝트 작동 영상">
            <a:hlinkClick r:id="" action="ppaction://media"/>
            <a:extLst>
              <a:ext uri="{FF2B5EF4-FFF2-40B4-BE49-F238E27FC236}">
                <a16:creationId xmlns:a16="http://schemas.microsoft.com/office/drawing/2014/main" id="{5F8F5FE5-578B-4BB4-BCAD-E3C7C794E975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3041964" y="2050602"/>
            <a:ext cx="5576935" cy="31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62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lgGri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AD9C6A93-F3FF-49A2-9094-512409A956EE}"/>
              </a:ext>
            </a:extLst>
          </p:cNvPr>
          <p:cNvSpPr txBox="1"/>
          <p:nvPr/>
        </p:nvSpPr>
        <p:spPr>
          <a:xfrm>
            <a:off x="2790192" y="2813447"/>
            <a:ext cx="6611616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tx2"/>
                </a:solidFill>
                <a:latin typeface="+mj-lt"/>
              </a:rPr>
              <a:t>THANK YOU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0D99B94-BC19-46D7-BAAC-79282D50B758}"/>
              </a:ext>
            </a:extLst>
          </p:cNvPr>
          <p:cNvCxnSpPr/>
          <p:nvPr/>
        </p:nvCxnSpPr>
        <p:spPr>
          <a:xfrm>
            <a:off x="9791700" y="-393700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B67DE17-0B48-428B-9E9F-459594CBBF75}"/>
              </a:ext>
            </a:extLst>
          </p:cNvPr>
          <p:cNvCxnSpPr/>
          <p:nvPr/>
        </p:nvCxnSpPr>
        <p:spPr>
          <a:xfrm>
            <a:off x="8102600" y="-748189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22714C1-5FD3-46AC-80CB-0D26D682DA1C}"/>
              </a:ext>
            </a:extLst>
          </p:cNvPr>
          <p:cNvCxnSpPr/>
          <p:nvPr/>
        </p:nvCxnSpPr>
        <p:spPr>
          <a:xfrm>
            <a:off x="1244600" y="5199181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96FE5-4469-4F1F-83DB-A256B711536B}"/>
              </a:ext>
            </a:extLst>
          </p:cNvPr>
          <p:cNvCxnSpPr/>
          <p:nvPr/>
        </p:nvCxnSpPr>
        <p:spPr>
          <a:xfrm>
            <a:off x="-444500" y="4844692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ame 19">
            <a:extLst>
              <a:ext uri="{FF2B5EF4-FFF2-40B4-BE49-F238E27FC236}">
                <a16:creationId xmlns:a16="http://schemas.microsoft.com/office/drawing/2014/main" id="{CA97A0FA-C469-4435-BDA8-C9074A8235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34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376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97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1F879D"/>
      </a:accent1>
      <a:accent2>
        <a:srgbClr val="17375E"/>
      </a:accent2>
      <a:accent3>
        <a:srgbClr val="BFBFBF"/>
      </a:accent3>
      <a:accent4>
        <a:srgbClr val="1F879D"/>
      </a:accent4>
      <a:accent5>
        <a:srgbClr val="17375E"/>
      </a:accent5>
      <a:accent6>
        <a:srgbClr val="BFBFBF"/>
      </a:accent6>
      <a:hlink>
        <a:srgbClr val="0000FF"/>
      </a:hlink>
      <a:folHlink>
        <a:srgbClr val="800080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E72DA85DAAD6194A84CABE6BAE01171B" ma:contentTypeVersion="2" ma:contentTypeDescription="새 문서를 만듭니다." ma:contentTypeScope="" ma:versionID="25524e7a51e87feee23ba196814aca2e">
  <xsd:schema xmlns:xsd="http://www.w3.org/2001/XMLSchema" xmlns:xs="http://www.w3.org/2001/XMLSchema" xmlns:p="http://schemas.microsoft.com/office/2006/metadata/properties" xmlns:ns3="bde7eb6b-05d6-4455-9281-f2405563e395" targetNamespace="http://schemas.microsoft.com/office/2006/metadata/properties" ma:root="true" ma:fieldsID="0fee4c14d536dfe0d7b38e3c91b07411" ns3:_="">
    <xsd:import namespace="bde7eb6b-05d6-4455-9281-f2405563e39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e7eb6b-05d6-4455-9281-f2405563e3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3B498FE-53B7-471B-B2D8-57823E7FBD99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3F6584A-1000-49C9-A9A0-66DAFFA5C910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bde7eb6b-05d6-4455-9281-f2405563e395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AD762A9-DA44-4567-98DB-7BA157A9DEE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35</TotalTime>
  <Words>103</Words>
  <Application>Microsoft Office PowerPoint</Application>
  <PresentationFormat>와이드스크린</PresentationFormat>
  <Paragraphs>25</Paragraphs>
  <Slides>6</Slides>
  <Notes>1</Notes>
  <HiddenSlides>0</HiddenSlides>
  <MMClips>1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6</vt:i4>
      </vt:variant>
    </vt:vector>
  </HeadingPairs>
  <TitlesOfParts>
    <vt:vector size="17" baseType="lpstr">
      <vt:lpstr>游ゴシック</vt:lpstr>
      <vt:lpstr>맑은 고딕</vt:lpstr>
      <vt:lpstr>Arial</vt:lpstr>
      <vt:lpstr>Calibri</vt:lpstr>
      <vt:lpstr>Calibri Light</vt:lpstr>
      <vt:lpstr>Corbel</vt:lpstr>
      <vt:lpstr>Helvetica</vt:lpstr>
      <vt:lpstr>Segoe UI</vt:lpstr>
      <vt:lpstr>Office Theme</vt:lpstr>
      <vt:lpstr>Tema de Office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이용수</cp:lastModifiedBy>
  <cp:revision>97</cp:revision>
  <dcterms:created xsi:type="dcterms:W3CDTF">2018-07-05T04:38:25Z</dcterms:created>
  <dcterms:modified xsi:type="dcterms:W3CDTF">2021-04-16T09:0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2DA85DAAD6194A84CABE6BAE01171B</vt:lpwstr>
  </property>
</Properties>
</file>